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6" r:id="rId2"/>
  </p:sldIdLst>
  <p:sldSz cx="7556500" cy="10693400"/>
  <p:notesSz cx="6858000" cy="9144000"/>
  <p:embeddedFontLst>
    <p:embeddedFont>
      <p:font typeface="Bigelow Rules" panose="02000508000000020004" pitchFamily="2" charset="0"/>
      <p:regular r:id="rId3"/>
    </p:embeddedFont>
    <p:embeddedFont>
      <p:font typeface="Quicksand" pitchFamily="2" charset="0"/>
      <p:regular r:id="rId4"/>
      <p:bold r:id="rId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6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 autoAdjust="0"/>
    <p:restoredTop sz="94622" autoAdjust="0"/>
  </p:normalViewPr>
  <p:slideViewPr>
    <p:cSldViewPr>
      <p:cViewPr>
        <p:scale>
          <a:sx n="150" d="100"/>
          <a:sy n="150" d="100"/>
        </p:scale>
        <p:origin x="-240" y="-27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font" Target="fonts/font1.fntdata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font" Target="fonts/font3.fntdata"/><Relationship Id="rId4" Type="http://schemas.openxmlformats.org/officeDocument/2006/relationships/font" Target="fonts/font2.fntdata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68" userDrawn="1">
          <p15:clr>
            <a:srgbClr val="FBAE40"/>
          </p15:clr>
        </p15:guide>
        <p15:guide id="2" pos="238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2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3/2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368" userDrawn="1">
          <p15:clr>
            <a:srgbClr val="F26B43"/>
          </p15:clr>
        </p15:guide>
        <p15:guide id="2" pos="2508" userDrawn="1">
          <p15:clr>
            <a:srgbClr val="F26B43"/>
          </p15:clr>
        </p15:guide>
        <p15:guide id="3" pos="4760" userDrawn="1">
          <p15:clr>
            <a:srgbClr val="F26B43"/>
          </p15:clr>
        </p15:guide>
        <p15:guide id="4" userDrawn="1">
          <p15:clr>
            <a:srgbClr val="F26B43"/>
          </p15:clr>
        </p15:guide>
        <p15:guide id="5" orient="horz" userDrawn="1">
          <p15:clr>
            <a:srgbClr val="F26B43"/>
          </p15:clr>
        </p15:guide>
        <p15:guide id="6" orient="horz" pos="672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0" Type="http://schemas.openxmlformats.org/officeDocument/2006/relationships/image" Target="../media/image8.svg"/><Relationship Id="rId4" Type="http://schemas.openxmlformats.org/officeDocument/2006/relationships/image" Target="../media/image2.svg"/><Relationship Id="rId9" Type="http://schemas.openxmlformats.org/officeDocument/2006/relationships/image" Target="../media/image7.png"/><Relationship Id="rId14" Type="http://schemas.openxmlformats.org/officeDocument/2006/relationships/image" Target="../media/image1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4ED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5" name="Group 1">
            <a:extLst>
              <a:ext uri="{FF2B5EF4-FFF2-40B4-BE49-F238E27FC236}">
                <a16:creationId xmlns:a16="http://schemas.microsoft.com/office/drawing/2014/main" id="{712983D0-73FE-8D8D-87A9-F38B5EE9AC13}"/>
              </a:ext>
            </a:extLst>
          </p:cNvPr>
          <p:cNvGrpSpPr/>
          <p:nvPr/>
        </p:nvGrpSpPr>
        <p:grpSpPr>
          <a:xfrm>
            <a:off x="-450565" y="457248"/>
            <a:ext cx="8007065" cy="10569484"/>
            <a:chOff x="-450565" y="457248"/>
            <a:chExt cx="8007065" cy="10569484"/>
          </a:xfrm>
        </p:grpSpPr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481CCCA3-F033-A185-880F-B7AC5D00408F}"/>
                </a:ext>
              </a:extLst>
            </p:cNvPr>
            <p:cNvGrpSpPr/>
            <p:nvPr/>
          </p:nvGrpSpPr>
          <p:grpSpPr>
            <a:xfrm>
              <a:off x="-450565" y="2960973"/>
              <a:ext cx="8007065" cy="8065759"/>
              <a:chOff x="-450565" y="2960973"/>
              <a:chExt cx="8007065" cy="8065759"/>
            </a:xfrm>
          </p:grpSpPr>
          <p:sp>
            <p:nvSpPr>
              <p:cNvPr id="2" name="Freeform 2"/>
              <p:cNvSpPr/>
              <p:nvPr/>
            </p:nvSpPr>
            <p:spPr>
              <a:xfrm>
                <a:off x="6804000" y="7157831"/>
                <a:ext cx="752497" cy="1489956"/>
              </a:xfrm>
              <a:custGeom>
                <a:avLst/>
                <a:gdLst/>
                <a:ahLst/>
                <a:cxnLst/>
                <a:rect l="l" t="t" r="r" b="b"/>
                <a:pathLst>
                  <a:path w="1955789" h="1489956">
                    <a:moveTo>
                      <a:pt x="0" y="0"/>
                    </a:moveTo>
                    <a:lnTo>
                      <a:pt x="1955789" y="0"/>
                    </a:lnTo>
                    <a:lnTo>
                      <a:pt x="1955789" y="1489955"/>
                    </a:lnTo>
                    <a:lnTo>
                      <a:pt x="0" y="1489955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alphaModFix amt="50000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 r="-159906"/>
                </a:stretch>
              </a:blipFill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" name="Freeform 3"/>
              <p:cNvSpPr/>
              <p:nvPr/>
            </p:nvSpPr>
            <p:spPr>
              <a:xfrm rot="-5400000" flipH="1" flipV="1">
                <a:off x="3456398" y="7891948"/>
                <a:ext cx="647203" cy="4955702"/>
              </a:xfrm>
              <a:custGeom>
                <a:avLst/>
                <a:gdLst/>
                <a:ahLst/>
                <a:cxnLst/>
                <a:rect l="l" t="t" r="r" b="b"/>
                <a:pathLst>
                  <a:path w="4955702" h="4955702">
                    <a:moveTo>
                      <a:pt x="4955702" y="4955702"/>
                    </a:moveTo>
                    <a:lnTo>
                      <a:pt x="0" y="4955702"/>
                    </a:lnTo>
                    <a:lnTo>
                      <a:pt x="0" y="0"/>
                    </a:lnTo>
                    <a:lnTo>
                      <a:pt x="4955702" y="0"/>
                    </a:lnTo>
                    <a:lnTo>
                      <a:pt x="4955702" y="4955702"/>
                    </a:lnTo>
                    <a:close/>
                  </a:path>
                </a:pathLst>
              </a:custGeom>
              <a:blipFill>
                <a:blip r:embed="rId5">
                  <a:alphaModFix amt="50000"/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 r="-665711"/>
                </a:stretch>
              </a:blipFill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" name="Freeform 4"/>
              <p:cNvSpPr/>
              <p:nvPr/>
            </p:nvSpPr>
            <p:spPr>
              <a:xfrm>
                <a:off x="6257851" y="2960973"/>
                <a:ext cx="1298649" cy="1645091"/>
              </a:xfrm>
              <a:custGeom>
                <a:avLst/>
                <a:gdLst/>
                <a:ahLst/>
                <a:cxnLst/>
                <a:rect l="l" t="t" r="r" b="b"/>
                <a:pathLst>
                  <a:path w="1600225" h="1645091">
                    <a:moveTo>
                      <a:pt x="0" y="0"/>
                    </a:moveTo>
                    <a:lnTo>
                      <a:pt x="1600225" y="0"/>
                    </a:lnTo>
                    <a:lnTo>
                      <a:pt x="1600225" y="1645092"/>
                    </a:lnTo>
                    <a:lnTo>
                      <a:pt x="0" y="1645092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7">
                  <a:alphaModFix amt="50000"/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 r="-23222"/>
                </a:stretch>
              </a:blipFill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" name="Freeform 5"/>
              <p:cNvSpPr/>
              <p:nvPr/>
            </p:nvSpPr>
            <p:spPr>
              <a:xfrm>
                <a:off x="5690662" y="8832197"/>
                <a:ext cx="1865835" cy="1861203"/>
              </a:xfrm>
              <a:custGeom>
                <a:avLst/>
                <a:gdLst/>
                <a:ahLst/>
                <a:cxnLst/>
                <a:rect l="l" t="t" r="r" b="b"/>
                <a:pathLst>
                  <a:path w="2334816" h="2254159">
                    <a:moveTo>
                      <a:pt x="0" y="0"/>
                    </a:moveTo>
                    <a:lnTo>
                      <a:pt x="2334816" y="0"/>
                    </a:lnTo>
                    <a:lnTo>
                      <a:pt x="2334816" y="2254159"/>
                    </a:lnTo>
                    <a:lnTo>
                      <a:pt x="0" y="2254159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9">
                  <a:alphaModFix amt="50000"/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 r="-25136" b="-21113"/>
                </a:stretch>
              </a:blipFill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" name="Freeform 6"/>
              <p:cNvSpPr/>
              <p:nvPr/>
            </p:nvSpPr>
            <p:spPr>
              <a:xfrm rot="-10800000">
                <a:off x="0" y="3214353"/>
                <a:ext cx="1474316" cy="1848521"/>
              </a:xfrm>
              <a:custGeom>
                <a:avLst/>
                <a:gdLst/>
                <a:ahLst/>
                <a:cxnLst/>
                <a:rect l="l" t="t" r="r" b="b"/>
                <a:pathLst>
                  <a:path w="1914664" h="1848521">
                    <a:moveTo>
                      <a:pt x="0" y="0"/>
                    </a:moveTo>
                    <a:lnTo>
                      <a:pt x="1914663" y="0"/>
                    </a:lnTo>
                    <a:lnTo>
                      <a:pt x="1914663" y="1848521"/>
                    </a:lnTo>
                    <a:lnTo>
                      <a:pt x="0" y="1848521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9">
                  <a:alphaModFix amt="50000"/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 r="-29868"/>
                </a:stretch>
              </a:blipFill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" name="Freeform 7"/>
              <p:cNvSpPr/>
              <p:nvPr/>
            </p:nvSpPr>
            <p:spPr>
              <a:xfrm>
                <a:off x="0" y="5450296"/>
                <a:ext cx="920956" cy="1473546"/>
              </a:xfrm>
              <a:custGeom>
                <a:avLst/>
                <a:gdLst/>
                <a:ahLst/>
                <a:cxnLst/>
                <a:rect l="l" t="t" r="r" b="b"/>
                <a:pathLst>
                  <a:path w="1934249" h="1473546">
                    <a:moveTo>
                      <a:pt x="0" y="0"/>
                    </a:moveTo>
                    <a:lnTo>
                      <a:pt x="1934249" y="0"/>
                    </a:lnTo>
                    <a:lnTo>
                      <a:pt x="1934249" y="1473546"/>
                    </a:lnTo>
                    <a:lnTo>
                      <a:pt x="0" y="1473546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alphaModFix amt="50000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 l="-110026"/>
                </a:stretch>
              </a:blipFill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76A7B07D-256D-BC37-7856-E9C895F27A49}"/>
                  </a:ext>
                </a:extLst>
              </p:cNvPr>
              <p:cNvSpPr/>
              <p:nvPr/>
            </p:nvSpPr>
            <p:spPr>
              <a:xfrm rot="627838" flipH="1" flipV="1">
                <a:off x="-450565" y="9065658"/>
                <a:ext cx="1907589" cy="1961074"/>
              </a:xfrm>
              <a:custGeom>
                <a:avLst/>
                <a:gdLst>
                  <a:gd name="connsiteX0" fmla="*/ 140119 w 1907589"/>
                  <a:gd name="connsiteY0" fmla="*/ 0 h 1961074"/>
                  <a:gd name="connsiteX1" fmla="*/ 0 w 1907589"/>
                  <a:gd name="connsiteY1" fmla="*/ 25879 h 1961074"/>
                  <a:gd name="connsiteX2" fmla="*/ 0 w 1907589"/>
                  <a:gd name="connsiteY2" fmla="*/ 0 h 1961074"/>
                  <a:gd name="connsiteX3" fmla="*/ 1646629 w 1907589"/>
                  <a:gd name="connsiteY3" fmla="*/ 1961074 h 1961074"/>
                  <a:gd name="connsiteX4" fmla="*/ 0 w 1907589"/>
                  <a:gd name="connsiteY4" fmla="*/ 1961074 h 1961074"/>
                  <a:gd name="connsiteX5" fmla="*/ 0 w 1907589"/>
                  <a:gd name="connsiteY5" fmla="*/ 498541 h 1961074"/>
                  <a:gd name="connsiteX6" fmla="*/ 1331111 w 1907589"/>
                  <a:gd name="connsiteY6" fmla="*/ 252700 h 1961074"/>
                  <a:gd name="connsiteX7" fmla="*/ 1284441 w 1907589"/>
                  <a:gd name="connsiteY7" fmla="*/ 0 h 1961074"/>
                  <a:gd name="connsiteX8" fmla="*/ 1907589 w 1907589"/>
                  <a:gd name="connsiteY8" fmla="*/ 0 h 1961074"/>
                  <a:gd name="connsiteX9" fmla="*/ 1907589 w 1907589"/>
                  <a:gd name="connsiteY9" fmla="*/ 181844 h 1961074"/>
                  <a:gd name="connsiteX10" fmla="*/ 1875761 w 1907589"/>
                  <a:gd name="connsiteY10" fmla="*/ 9509 h 1961074"/>
                  <a:gd name="connsiteX11" fmla="*/ 1305644 w 1907589"/>
                  <a:gd name="connsiteY11" fmla="*/ 114804 h 1961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907589" h="1961074">
                    <a:moveTo>
                      <a:pt x="140119" y="0"/>
                    </a:moveTo>
                    <a:lnTo>
                      <a:pt x="0" y="25879"/>
                    </a:lnTo>
                    <a:lnTo>
                      <a:pt x="0" y="0"/>
                    </a:lnTo>
                    <a:close/>
                    <a:moveTo>
                      <a:pt x="1646629" y="1961074"/>
                    </a:moveTo>
                    <a:lnTo>
                      <a:pt x="0" y="1961074"/>
                    </a:lnTo>
                    <a:lnTo>
                      <a:pt x="0" y="498541"/>
                    </a:lnTo>
                    <a:lnTo>
                      <a:pt x="1331111" y="252700"/>
                    </a:lnTo>
                    <a:lnTo>
                      <a:pt x="1284441" y="0"/>
                    </a:lnTo>
                    <a:lnTo>
                      <a:pt x="1907589" y="0"/>
                    </a:lnTo>
                    <a:lnTo>
                      <a:pt x="1907589" y="181844"/>
                    </a:lnTo>
                    <a:lnTo>
                      <a:pt x="1875761" y="9509"/>
                    </a:lnTo>
                    <a:lnTo>
                      <a:pt x="1305644" y="114804"/>
                    </a:lnTo>
                    <a:close/>
                  </a:path>
                </a:pathLst>
              </a:custGeom>
              <a:blipFill>
                <a:blip r:embed="rId7">
                  <a:alphaModFix amt="50000"/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" name="Freeform 9"/>
              <p:cNvSpPr/>
              <p:nvPr/>
            </p:nvSpPr>
            <p:spPr>
              <a:xfrm>
                <a:off x="6322788" y="4787040"/>
                <a:ext cx="1233706" cy="2057930"/>
              </a:xfrm>
              <a:custGeom>
                <a:avLst/>
                <a:gdLst/>
                <a:ahLst/>
                <a:cxnLst/>
                <a:rect l="l" t="t" r="r" b="b"/>
                <a:pathLst>
                  <a:path w="2487608" h="2057930">
                    <a:moveTo>
                      <a:pt x="0" y="0"/>
                    </a:moveTo>
                    <a:lnTo>
                      <a:pt x="2487608" y="0"/>
                    </a:lnTo>
                    <a:lnTo>
                      <a:pt x="2487608" y="2057930"/>
                    </a:lnTo>
                    <a:lnTo>
                      <a:pt x="0" y="205793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1">
                  <a:alphaModFix amt="50000"/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 r="-101638"/>
                </a:stretch>
              </a:blipFill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" name="Freeform 10"/>
              <p:cNvSpPr/>
              <p:nvPr/>
            </p:nvSpPr>
            <p:spPr>
              <a:xfrm flipH="1">
                <a:off x="0" y="7069944"/>
                <a:ext cx="1197636" cy="2057930"/>
              </a:xfrm>
              <a:custGeom>
                <a:avLst/>
                <a:gdLst/>
                <a:ahLst/>
                <a:cxnLst/>
                <a:rect l="l" t="t" r="r" b="b"/>
                <a:pathLst>
                  <a:path w="2487608" h="2057930">
                    <a:moveTo>
                      <a:pt x="2487608" y="0"/>
                    </a:moveTo>
                    <a:lnTo>
                      <a:pt x="0" y="0"/>
                    </a:lnTo>
                    <a:lnTo>
                      <a:pt x="0" y="2057930"/>
                    </a:lnTo>
                    <a:lnTo>
                      <a:pt x="2487608" y="2057930"/>
                    </a:lnTo>
                    <a:lnTo>
                      <a:pt x="2487608" y="0"/>
                    </a:lnTo>
                    <a:close/>
                  </a:path>
                </a:pathLst>
              </a:custGeom>
              <a:blipFill>
                <a:blip r:embed="rId11">
                  <a:alphaModFix amt="50000"/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 r="-107710"/>
                </a:stretch>
              </a:blipFill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1507B2DE-56B8-3004-557E-A238AD22FE70}"/>
                </a:ext>
              </a:extLst>
            </p:cNvPr>
            <p:cNvGrpSpPr/>
            <p:nvPr/>
          </p:nvGrpSpPr>
          <p:grpSpPr>
            <a:xfrm>
              <a:off x="444908" y="3357070"/>
              <a:ext cx="6670184" cy="6789139"/>
              <a:chOff x="444908" y="3357070"/>
              <a:chExt cx="6670184" cy="6789139"/>
            </a:xfrm>
          </p:grpSpPr>
          <p:sp>
            <p:nvSpPr>
              <p:cNvPr id="12" name="Freeform 12"/>
              <p:cNvSpPr/>
              <p:nvPr/>
            </p:nvSpPr>
            <p:spPr>
              <a:xfrm>
                <a:off x="444908" y="3357070"/>
                <a:ext cx="6670184" cy="6784377"/>
              </a:xfrm>
              <a:custGeom>
                <a:avLst/>
                <a:gdLst/>
                <a:ahLst/>
                <a:cxnLst/>
                <a:rect l="l" t="t" r="r" b="b"/>
                <a:pathLst>
                  <a:path w="1894977" h="1927419">
                    <a:moveTo>
                      <a:pt x="0" y="0"/>
                    </a:moveTo>
                    <a:lnTo>
                      <a:pt x="1894977" y="0"/>
                    </a:lnTo>
                    <a:lnTo>
                      <a:pt x="1894977" y="1927419"/>
                    </a:lnTo>
                    <a:lnTo>
                      <a:pt x="0" y="192741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7FBEB65E-A04B-7393-139F-F4A3D4A18037}"/>
                  </a:ext>
                </a:extLst>
              </p:cNvPr>
              <p:cNvGrpSpPr/>
              <p:nvPr/>
            </p:nvGrpSpPr>
            <p:grpSpPr>
              <a:xfrm>
                <a:off x="585246" y="3576388"/>
                <a:ext cx="5929995" cy="6345746"/>
                <a:chOff x="585246" y="3576388"/>
                <a:chExt cx="5929995" cy="6345746"/>
              </a:xfrm>
            </p:grpSpPr>
            <p:sp>
              <p:nvSpPr>
                <p:cNvPr id="20" name="TextBox 20"/>
                <p:cNvSpPr txBox="1"/>
                <p:nvPr/>
              </p:nvSpPr>
              <p:spPr>
                <a:xfrm>
                  <a:off x="1557545" y="3576388"/>
                  <a:ext cx="708085" cy="17812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ts val="154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767040">
                          <a:alpha val="89804"/>
                        </a:srgbClr>
                      </a:solidFill>
                      <a:effectLst/>
                      <a:uLnTx/>
                      <a:uFillTx/>
                      <a:latin typeface="Quicksand" pitchFamily="2" charset="0"/>
                    </a:rPr>
                    <a:t>NAME</a:t>
                  </a:r>
                </a:p>
              </p:txBody>
            </p:sp>
            <p:sp>
              <p:nvSpPr>
                <p:cNvPr id="21" name="TextBox 21"/>
                <p:cNvSpPr txBox="1"/>
                <p:nvPr/>
              </p:nvSpPr>
              <p:spPr>
                <a:xfrm>
                  <a:off x="3455806" y="3576388"/>
                  <a:ext cx="871197" cy="17812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ts val="154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767040">
                          <a:alpha val="89804"/>
                        </a:srgbClr>
                      </a:solidFill>
                      <a:effectLst/>
                      <a:uLnTx/>
                      <a:uFillTx/>
                      <a:latin typeface="Quicksand" pitchFamily="2" charset="0"/>
                    </a:rPr>
                    <a:t>DISH</a:t>
                  </a:r>
                </a:p>
              </p:txBody>
            </p:sp>
            <p:sp>
              <p:nvSpPr>
                <p:cNvPr id="22" name="TextBox 22"/>
                <p:cNvSpPr txBox="1"/>
                <p:nvPr/>
              </p:nvSpPr>
              <p:spPr>
                <a:xfrm>
                  <a:off x="5517179" y="3576388"/>
                  <a:ext cx="998062" cy="17812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ts val="154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767040">
                          <a:alpha val="89804"/>
                        </a:srgbClr>
                      </a:solidFill>
                      <a:effectLst/>
                      <a:uLnTx/>
                      <a:uFillTx/>
                      <a:latin typeface="Quicksand" pitchFamily="2" charset="0"/>
                    </a:rPr>
                    <a:t>NOTE</a:t>
                  </a:r>
                </a:p>
              </p:txBody>
            </p:sp>
            <p:sp>
              <p:nvSpPr>
                <p:cNvPr id="19" name="TextBox 19"/>
                <p:cNvSpPr txBox="1"/>
                <p:nvPr/>
              </p:nvSpPr>
              <p:spPr>
                <a:xfrm>
                  <a:off x="585246" y="3576388"/>
                  <a:ext cx="236871" cy="17812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ts val="154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767040">
                          <a:alpha val="89804"/>
                        </a:srgbClr>
                      </a:solidFill>
                      <a:effectLst/>
                      <a:uLnTx/>
                      <a:uFillTx/>
                      <a:latin typeface="Quicksand" pitchFamily="2" charset="0"/>
                    </a:rPr>
                    <a:t>NO</a:t>
                  </a:r>
                </a:p>
              </p:txBody>
            </p:sp>
            <p:sp>
              <p:nvSpPr>
                <p:cNvPr id="23" name="TextBox 23"/>
                <p:cNvSpPr txBox="1"/>
                <p:nvPr/>
              </p:nvSpPr>
              <p:spPr>
                <a:xfrm>
                  <a:off x="585246" y="4193150"/>
                  <a:ext cx="236871" cy="17812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ts val="154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767040">
                          <a:alpha val="89804"/>
                        </a:srgbClr>
                      </a:solidFill>
                      <a:effectLst/>
                      <a:uLnTx/>
                      <a:uFillTx/>
                      <a:latin typeface="Quicksand" pitchFamily="2" charset="0"/>
                    </a:rPr>
                    <a:t>1</a:t>
                  </a:r>
                </a:p>
              </p:txBody>
            </p:sp>
            <p:sp>
              <p:nvSpPr>
                <p:cNvPr id="24" name="TextBox 24"/>
                <p:cNvSpPr txBox="1"/>
                <p:nvPr/>
              </p:nvSpPr>
              <p:spPr>
                <a:xfrm>
                  <a:off x="585246" y="4809912"/>
                  <a:ext cx="236871" cy="17812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ts val="154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767040">
                          <a:alpha val="89804"/>
                        </a:srgbClr>
                      </a:solidFill>
                      <a:effectLst/>
                      <a:uLnTx/>
                      <a:uFillTx/>
                      <a:latin typeface="Quicksand" pitchFamily="2" charset="0"/>
                    </a:rPr>
                    <a:t>2</a:t>
                  </a:r>
                </a:p>
              </p:txBody>
            </p:sp>
            <p:sp>
              <p:nvSpPr>
                <p:cNvPr id="25" name="TextBox 25"/>
                <p:cNvSpPr txBox="1"/>
                <p:nvPr/>
              </p:nvSpPr>
              <p:spPr>
                <a:xfrm>
                  <a:off x="585246" y="5426674"/>
                  <a:ext cx="236871" cy="17812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ts val="154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767040">
                          <a:alpha val="89804"/>
                        </a:srgbClr>
                      </a:solidFill>
                      <a:effectLst/>
                      <a:uLnTx/>
                      <a:uFillTx/>
                      <a:latin typeface="Quicksand" pitchFamily="2" charset="0"/>
                    </a:rPr>
                    <a:t>3</a:t>
                  </a:r>
                </a:p>
              </p:txBody>
            </p:sp>
            <p:sp>
              <p:nvSpPr>
                <p:cNvPr id="26" name="TextBox 26"/>
                <p:cNvSpPr txBox="1"/>
                <p:nvPr/>
              </p:nvSpPr>
              <p:spPr>
                <a:xfrm>
                  <a:off x="585246" y="6043436"/>
                  <a:ext cx="236871" cy="17812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ts val="154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767040">
                          <a:alpha val="89804"/>
                        </a:srgbClr>
                      </a:solidFill>
                      <a:effectLst/>
                      <a:uLnTx/>
                      <a:uFillTx/>
                      <a:latin typeface="Quicksand" pitchFamily="2" charset="0"/>
                    </a:rPr>
                    <a:t>4</a:t>
                  </a:r>
                </a:p>
              </p:txBody>
            </p:sp>
            <p:sp>
              <p:nvSpPr>
                <p:cNvPr id="27" name="TextBox 27"/>
                <p:cNvSpPr txBox="1"/>
                <p:nvPr/>
              </p:nvSpPr>
              <p:spPr>
                <a:xfrm>
                  <a:off x="585246" y="6660198"/>
                  <a:ext cx="236871" cy="17812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ts val="154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767040">
                          <a:alpha val="89804"/>
                        </a:srgbClr>
                      </a:solidFill>
                      <a:effectLst/>
                      <a:uLnTx/>
                      <a:uFillTx/>
                      <a:latin typeface="Quicksand" pitchFamily="2" charset="0"/>
                    </a:rPr>
                    <a:t>5</a:t>
                  </a:r>
                </a:p>
              </p:txBody>
            </p:sp>
            <p:sp>
              <p:nvSpPr>
                <p:cNvPr id="28" name="TextBox 28"/>
                <p:cNvSpPr txBox="1"/>
                <p:nvPr/>
              </p:nvSpPr>
              <p:spPr>
                <a:xfrm>
                  <a:off x="585246" y="7276960"/>
                  <a:ext cx="236871" cy="17812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ts val="154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767040">
                          <a:alpha val="89804"/>
                        </a:srgbClr>
                      </a:solidFill>
                      <a:effectLst/>
                      <a:uLnTx/>
                      <a:uFillTx/>
                      <a:latin typeface="Quicksand" pitchFamily="2" charset="0"/>
                    </a:rPr>
                    <a:t>6</a:t>
                  </a:r>
                </a:p>
              </p:txBody>
            </p:sp>
            <p:sp>
              <p:nvSpPr>
                <p:cNvPr id="29" name="TextBox 29"/>
                <p:cNvSpPr txBox="1"/>
                <p:nvPr/>
              </p:nvSpPr>
              <p:spPr>
                <a:xfrm>
                  <a:off x="585246" y="7893722"/>
                  <a:ext cx="236871" cy="17812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ts val="154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767040">
                          <a:alpha val="89804"/>
                        </a:srgbClr>
                      </a:solidFill>
                      <a:effectLst/>
                      <a:uLnTx/>
                      <a:uFillTx/>
                      <a:latin typeface="Quicksand" pitchFamily="2" charset="0"/>
                    </a:rPr>
                    <a:t>7</a:t>
                  </a:r>
                </a:p>
              </p:txBody>
            </p:sp>
            <p:sp>
              <p:nvSpPr>
                <p:cNvPr id="30" name="TextBox 30"/>
                <p:cNvSpPr txBox="1"/>
                <p:nvPr/>
              </p:nvSpPr>
              <p:spPr>
                <a:xfrm>
                  <a:off x="585246" y="8510484"/>
                  <a:ext cx="236871" cy="17812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ts val="154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767040">
                          <a:alpha val="89804"/>
                        </a:srgbClr>
                      </a:solidFill>
                      <a:effectLst/>
                      <a:uLnTx/>
                      <a:uFillTx/>
                      <a:latin typeface="Quicksand" pitchFamily="2" charset="0"/>
                    </a:rPr>
                    <a:t>8</a:t>
                  </a:r>
                </a:p>
              </p:txBody>
            </p:sp>
            <p:sp>
              <p:nvSpPr>
                <p:cNvPr id="31" name="TextBox 31"/>
                <p:cNvSpPr txBox="1"/>
                <p:nvPr/>
              </p:nvSpPr>
              <p:spPr>
                <a:xfrm>
                  <a:off x="585246" y="9127246"/>
                  <a:ext cx="236871" cy="17812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ts val="154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767040">
                          <a:alpha val="89804"/>
                        </a:srgbClr>
                      </a:solidFill>
                      <a:effectLst/>
                      <a:uLnTx/>
                      <a:uFillTx/>
                      <a:latin typeface="Quicksand" pitchFamily="2" charset="0"/>
                    </a:rPr>
                    <a:t>9</a:t>
                  </a:r>
                </a:p>
              </p:txBody>
            </p:sp>
            <p:sp>
              <p:nvSpPr>
                <p:cNvPr id="32" name="TextBox 32"/>
                <p:cNvSpPr txBox="1"/>
                <p:nvPr/>
              </p:nvSpPr>
              <p:spPr>
                <a:xfrm>
                  <a:off x="585246" y="9744008"/>
                  <a:ext cx="236871" cy="17812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ts val="154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767040">
                          <a:alpha val="89804"/>
                        </a:srgbClr>
                      </a:solidFill>
                      <a:effectLst/>
                      <a:uLnTx/>
                      <a:uFillTx/>
                      <a:latin typeface="Quicksand" pitchFamily="2" charset="0"/>
                    </a:rPr>
                    <a:t>10</a:t>
                  </a:r>
                </a:p>
              </p:txBody>
            </p:sp>
          </p:grpSp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E0CEB8E8-A9C9-42BD-5B28-DDA84B0084A1}"/>
                  </a:ext>
                </a:extLst>
              </p:cNvPr>
              <p:cNvGrpSpPr/>
              <p:nvPr/>
            </p:nvGrpSpPr>
            <p:grpSpPr>
              <a:xfrm>
                <a:off x="444908" y="3361832"/>
                <a:ext cx="6670184" cy="6784377"/>
                <a:chOff x="444908" y="3361832"/>
                <a:chExt cx="6670184" cy="6784377"/>
              </a:xfrm>
            </p:grpSpPr>
            <p:sp>
              <p:nvSpPr>
                <p:cNvPr id="44" name="AutoShape 44"/>
                <p:cNvSpPr/>
                <p:nvPr/>
              </p:nvSpPr>
              <p:spPr>
                <a:xfrm>
                  <a:off x="444908" y="3973832"/>
                  <a:ext cx="6670184" cy="0"/>
                </a:xfrm>
                <a:prstGeom prst="line">
                  <a:avLst/>
                </a:prstGeom>
                <a:ln w="9525" cap="flat">
                  <a:solidFill>
                    <a:srgbClr val="F4EDE7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AutoShape 45"/>
                <p:cNvSpPr/>
                <p:nvPr/>
              </p:nvSpPr>
              <p:spPr>
                <a:xfrm>
                  <a:off x="962456" y="3361832"/>
                  <a:ext cx="0" cy="6784377"/>
                </a:xfrm>
                <a:prstGeom prst="line">
                  <a:avLst/>
                </a:prstGeom>
                <a:ln w="9525" cap="flat">
                  <a:solidFill>
                    <a:srgbClr val="F4EDE7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AutoShape 46"/>
                <p:cNvSpPr/>
                <p:nvPr/>
              </p:nvSpPr>
              <p:spPr>
                <a:xfrm>
                  <a:off x="2860717" y="3361832"/>
                  <a:ext cx="0" cy="6784377"/>
                </a:xfrm>
                <a:prstGeom prst="line">
                  <a:avLst/>
                </a:prstGeom>
                <a:ln w="9525" cap="flat">
                  <a:solidFill>
                    <a:srgbClr val="F4EDE7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AutoShape 47"/>
                <p:cNvSpPr/>
                <p:nvPr/>
              </p:nvSpPr>
              <p:spPr>
                <a:xfrm>
                  <a:off x="4922091" y="3361832"/>
                  <a:ext cx="0" cy="6784377"/>
                </a:xfrm>
                <a:prstGeom prst="line">
                  <a:avLst/>
                </a:prstGeom>
                <a:ln w="9525" cap="flat">
                  <a:solidFill>
                    <a:srgbClr val="F4EDE7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AutoShape 48"/>
                <p:cNvSpPr/>
                <p:nvPr/>
              </p:nvSpPr>
              <p:spPr>
                <a:xfrm>
                  <a:off x="444908" y="4590594"/>
                  <a:ext cx="6670184" cy="0"/>
                </a:xfrm>
                <a:prstGeom prst="line">
                  <a:avLst/>
                </a:prstGeom>
                <a:ln w="9525" cap="flat">
                  <a:solidFill>
                    <a:srgbClr val="F4EDE7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AutoShape 49"/>
                <p:cNvSpPr/>
                <p:nvPr/>
              </p:nvSpPr>
              <p:spPr>
                <a:xfrm>
                  <a:off x="444908" y="5207356"/>
                  <a:ext cx="6670184" cy="0"/>
                </a:xfrm>
                <a:prstGeom prst="line">
                  <a:avLst/>
                </a:prstGeom>
                <a:ln w="9525" cap="flat">
                  <a:solidFill>
                    <a:srgbClr val="F4EDE7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AutoShape 50"/>
                <p:cNvSpPr/>
                <p:nvPr/>
              </p:nvSpPr>
              <p:spPr>
                <a:xfrm>
                  <a:off x="444908" y="5824118"/>
                  <a:ext cx="6670184" cy="0"/>
                </a:xfrm>
                <a:prstGeom prst="line">
                  <a:avLst/>
                </a:prstGeom>
                <a:ln w="9525" cap="flat">
                  <a:solidFill>
                    <a:srgbClr val="F4EDE7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AutoShape 51"/>
                <p:cNvSpPr/>
                <p:nvPr/>
              </p:nvSpPr>
              <p:spPr>
                <a:xfrm>
                  <a:off x="444908" y="6440880"/>
                  <a:ext cx="6670184" cy="0"/>
                </a:xfrm>
                <a:prstGeom prst="line">
                  <a:avLst/>
                </a:prstGeom>
                <a:ln w="9525" cap="flat">
                  <a:solidFill>
                    <a:srgbClr val="F4EDE7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AutoShape 52"/>
                <p:cNvSpPr/>
                <p:nvPr/>
              </p:nvSpPr>
              <p:spPr>
                <a:xfrm>
                  <a:off x="444908" y="7057642"/>
                  <a:ext cx="6670184" cy="0"/>
                </a:xfrm>
                <a:prstGeom prst="line">
                  <a:avLst/>
                </a:prstGeom>
                <a:ln w="9525" cap="flat">
                  <a:solidFill>
                    <a:srgbClr val="F4EDE7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AutoShape 53"/>
                <p:cNvSpPr/>
                <p:nvPr/>
              </p:nvSpPr>
              <p:spPr>
                <a:xfrm>
                  <a:off x="444908" y="7674404"/>
                  <a:ext cx="6670184" cy="0"/>
                </a:xfrm>
                <a:prstGeom prst="line">
                  <a:avLst/>
                </a:prstGeom>
                <a:ln w="9525" cap="flat">
                  <a:solidFill>
                    <a:srgbClr val="F4EDE7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AutoShape 54"/>
                <p:cNvSpPr/>
                <p:nvPr/>
              </p:nvSpPr>
              <p:spPr>
                <a:xfrm>
                  <a:off x="444908" y="8291166"/>
                  <a:ext cx="6670184" cy="0"/>
                </a:xfrm>
                <a:prstGeom prst="line">
                  <a:avLst/>
                </a:prstGeom>
                <a:ln w="9525" cap="flat">
                  <a:solidFill>
                    <a:srgbClr val="F4EDE7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5" name="AutoShape 55"/>
                <p:cNvSpPr/>
                <p:nvPr/>
              </p:nvSpPr>
              <p:spPr>
                <a:xfrm>
                  <a:off x="444908" y="8907928"/>
                  <a:ext cx="6670184" cy="0"/>
                </a:xfrm>
                <a:prstGeom prst="line">
                  <a:avLst/>
                </a:prstGeom>
                <a:ln w="9525" cap="flat">
                  <a:solidFill>
                    <a:srgbClr val="F4EDE7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6" name="AutoShape 56"/>
                <p:cNvSpPr/>
                <p:nvPr/>
              </p:nvSpPr>
              <p:spPr>
                <a:xfrm>
                  <a:off x="444908" y="9524690"/>
                  <a:ext cx="6670184" cy="0"/>
                </a:xfrm>
                <a:prstGeom prst="line">
                  <a:avLst/>
                </a:prstGeom>
                <a:ln w="9525" cap="flat">
                  <a:solidFill>
                    <a:srgbClr val="F4EDE7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0FBBDEAC-9554-DD50-A611-F8313AF036D9}"/>
                </a:ext>
              </a:extLst>
            </p:cNvPr>
            <p:cNvGrpSpPr/>
            <p:nvPr/>
          </p:nvGrpSpPr>
          <p:grpSpPr>
            <a:xfrm>
              <a:off x="443158" y="1710727"/>
              <a:ext cx="6670184" cy="1169131"/>
              <a:chOff x="443158" y="1710727"/>
              <a:chExt cx="6670184" cy="1169131"/>
            </a:xfrm>
          </p:grpSpPr>
          <p:sp>
            <p:nvSpPr>
              <p:cNvPr id="40" name="TextBox 40"/>
              <p:cNvSpPr txBox="1"/>
              <p:nvPr/>
            </p:nvSpPr>
            <p:spPr>
              <a:xfrm>
                <a:off x="443158" y="2751618"/>
                <a:ext cx="6670184" cy="12824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ts val="1019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49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A4938"/>
                    </a:solidFill>
                    <a:effectLst/>
                    <a:uLnTx/>
                    <a:uFillTx/>
                    <a:latin typeface="Quicksand" pitchFamily="2" charset="0"/>
                  </a:rPr>
                  <a:t> Please write your name next to the dish you will be bringing. We encourage everyone to bring enough to serve at least </a:t>
                </a:r>
                <a:r>
                  <a:rPr kumimoji="0" lang="en-US" sz="849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A4938"/>
                    </a:solidFill>
                    <a:effectLst/>
                    <a:uLnTx/>
                    <a:uFillTx/>
                    <a:latin typeface="Quicksand" pitchFamily="2" charset="0"/>
                  </a:rPr>
                  <a:t>8-10 people</a:t>
                </a:r>
              </a:p>
            </p:txBody>
          </p:sp>
          <p:sp>
            <p:nvSpPr>
              <p:cNvPr id="16" name="Freeform 16"/>
              <p:cNvSpPr/>
              <p:nvPr/>
            </p:nvSpPr>
            <p:spPr>
              <a:xfrm>
                <a:off x="444908" y="1710727"/>
                <a:ext cx="6668434" cy="959776"/>
              </a:xfrm>
              <a:custGeom>
                <a:avLst/>
                <a:gdLst/>
                <a:ahLst/>
                <a:cxnLst/>
                <a:rect l="l" t="t" r="r" b="b"/>
                <a:pathLst>
                  <a:path w="946042" h="135217">
                    <a:moveTo>
                      <a:pt x="0" y="0"/>
                    </a:moveTo>
                    <a:lnTo>
                      <a:pt x="946042" y="0"/>
                    </a:lnTo>
                    <a:lnTo>
                      <a:pt x="946042" y="135217"/>
                    </a:lnTo>
                    <a:lnTo>
                      <a:pt x="0" y="135217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" name="TextBox 18"/>
              <p:cNvSpPr txBox="1"/>
              <p:nvPr/>
            </p:nvSpPr>
            <p:spPr>
              <a:xfrm>
                <a:off x="629640" y="1859641"/>
                <a:ext cx="658245" cy="17812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ts val="154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67040">
                        <a:alpha val="89804"/>
                      </a:srgbClr>
                    </a:solidFill>
                    <a:effectLst/>
                    <a:uLnTx/>
                    <a:uFillTx/>
                    <a:latin typeface="Quicksand" pitchFamily="2" charset="0"/>
                  </a:rPr>
                  <a:t>DATE</a:t>
                </a:r>
              </a:p>
            </p:txBody>
          </p:sp>
          <p:sp>
            <p:nvSpPr>
              <p:cNvPr id="36" name="TextBox 36"/>
              <p:cNvSpPr txBox="1"/>
              <p:nvPr/>
            </p:nvSpPr>
            <p:spPr>
              <a:xfrm>
                <a:off x="3968756" y="1859641"/>
                <a:ext cx="879161" cy="17812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ts val="154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67040">
                        <a:alpha val="89804"/>
                      </a:srgbClr>
                    </a:solidFill>
                    <a:effectLst/>
                    <a:uLnTx/>
                    <a:uFillTx/>
                    <a:latin typeface="Quicksand" pitchFamily="2" charset="0"/>
                  </a:rPr>
                  <a:t>LOCATION</a:t>
                </a:r>
              </a:p>
            </p:txBody>
          </p:sp>
          <p:sp>
            <p:nvSpPr>
              <p:cNvPr id="41" name="TextBox 41"/>
              <p:cNvSpPr txBox="1"/>
              <p:nvPr/>
            </p:nvSpPr>
            <p:spPr>
              <a:xfrm>
                <a:off x="629640" y="2348378"/>
                <a:ext cx="843876" cy="17812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ts val="154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67040">
                        <a:alpha val="89804"/>
                      </a:srgbClr>
                    </a:solidFill>
                    <a:effectLst/>
                    <a:uLnTx/>
                    <a:uFillTx/>
                    <a:latin typeface="Quicksand" pitchFamily="2" charset="0"/>
                  </a:rPr>
                  <a:t>CONTACT</a:t>
                </a:r>
              </a:p>
            </p:txBody>
          </p:sp>
          <p:sp>
            <p:nvSpPr>
              <p:cNvPr id="69" name="AutoShape 44">
                <a:extLst>
                  <a:ext uri="{FF2B5EF4-FFF2-40B4-BE49-F238E27FC236}">
                    <a16:creationId xmlns:a16="http://schemas.microsoft.com/office/drawing/2014/main" id="{E4AF7520-2100-39EA-9145-A7BF4E85A76F}"/>
                  </a:ext>
                </a:extLst>
              </p:cNvPr>
              <p:cNvSpPr/>
              <p:nvPr/>
            </p:nvSpPr>
            <p:spPr>
              <a:xfrm>
                <a:off x="443158" y="2190615"/>
                <a:ext cx="6670184" cy="0"/>
              </a:xfrm>
              <a:prstGeom prst="line">
                <a:avLst/>
              </a:prstGeom>
              <a:ln w="9525" cap="flat">
                <a:solidFill>
                  <a:srgbClr val="F4EDE7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" name="AutoShape 45">
                <a:extLst>
                  <a:ext uri="{FF2B5EF4-FFF2-40B4-BE49-F238E27FC236}">
                    <a16:creationId xmlns:a16="http://schemas.microsoft.com/office/drawing/2014/main" id="{3AB2242B-1E7E-34D5-9EEB-6BC3EE6523DF}"/>
                  </a:ext>
                </a:extLst>
              </p:cNvPr>
              <p:cNvSpPr/>
              <p:nvPr/>
            </p:nvSpPr>
            <p:spPr>
              <a:xfrm>
                <a:off x="3778250" y="1710727"/>
                <a:ext cx="0" cy="479888"/>
              </a:xfrm>
              <a:prstGeom prst="line">
                <a:avLst/>
              </a:prstGeom>
              <a:ln w="9525" cap="flat">
                <a:solidFill>
                  <a:srgbClr val="F4EDE7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5BE1FF6-C07B-D806-8496-BB8437E55B01}"/>
                </a:ext>
              </a:extLst>
            </p:cNvPr>
            <p:cNvGrpSpPr/>
            <p:nvPr/>
          </p:nvGrpSpPr>
          <p:grpSpPr>
            <a:xfrm>
              <a:off x="565378" y="457248"/>
              <a:ext cx="6425744" cy="1073453"/>
              <a:chOff x="567128" y="457248"/>
              <a:chExt cx="6425744" cy="1073453"/>
            </a:xfrm>
          </p:grpSpPr>
          <p:sp>
            <p:nvSpPr>
              <p:cNvPr id="14" name="TextBox 14"/>
              <p:cNvSpPr txBox="1"/>
              <p:nvPr/>
            </p:nvSpPr>
            <p:spPr>
              <a:xfrm>
                <a:off x="1098394" y="457248"/>
                <a:ext cx="5363212" cy="18859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ts val="1679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240" normalizeH="0" baseline="0" noProof="0" dirty="0">
                    <a:ln>
                      <a:noFill/>
                    </a:ln>
                    <a:solidFill>
                      <a:srgbClr val="0A4938">
                        <a:alpha val="80000"/>
                      </a:srgbClr>
                    </a:solidFill>
                    <a:effectLst/>
                    <a:uLnTx/>
                    <a:uFillTx/>
                    <a:latin typeface="Quicksand"/>
                    <a:ea typeface="+mn-ea"/>
                    <a:cs typeface="+mn-cs"/>
                  </a:rPr>
                  <a:t>SIGN-UP SHEET</a:t>
                </a:r>
              </a:p>
            </p:txBody>
          </p:sp>
          <p:sp>
            <p:nvSpPr>
              <p:cNvPr id="42" name="TextBox 42"/>
              <p:cNvSpPr txBox="1"/>
              <p:nvPr/>
            </p:nvSpPr>
            <p:spPr>
              <a:xfrm>
                <a:off x="567128" y="645843"/>
                <a:ext cx="6425744" cy="88485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ts val="6892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800" b="0" i="0" u="none" strike="noStrike" kern="1200" cap="none" spc="173" normalizeH="0" baseline="0" noProof="0" dirty="0">
                    <a:ln>
                      <a:noFill/>
                    </a:ln>
                    <a:solidFill>
                      <a:srgbClr val="0A4938"/>
                    </a:solidFill>
                    <a:effectLst/>
                    <a:uLnTx/>
                    <a:uFillTx/>
                    <a:latin typeface="Bigelow Rules"/>
                    <a:ea typeface="+mn-ea"/>
                    <a:cs typeface="+mn-cs"/>
                  </a:rPr>
                  <a:t>Thanksgiving Potluck </a:t>
                </a:r>
              </a:p>
            </p:txBody>
          </p:sp>
        </p:grpSp>
        <p:sp>
          <p:nvSpPr>
            <p:cNvPr id="43" name="TemplateLAB"/>
            <p:cNvSpPr/>
            <p:nvPr/>
          </p:nvSpPr>
          <p:spPr>
            <a:xfrm rot="-5400000">
              <a:off x="6978901" y="2145552"/>
              <a:ext cx="576000" cy="95040"/>
            </a:xfrm>
            <a:custGeom>
              <a:avLst/>
              <a:gdLst/>
              <a:ahLst/>
              <a:cxnLst/>
              <a:rect l="l" t="t" r="r" b="b"/>
              <a:pathLst>
                <a:path w="576000" h="95040">
                  <a:moveTo>
                    <a:pt x="0" y="0"/>
                  </a:moveTo>
                  <a:lnTo>
                    <a:pt x="576000" y="0"/>
                  </a:lnTo>
                  <a:lnTo>
                    <a:pt x="576000" y="95040"/>
                  </a:lnTo>
                  <a:lnTo>
                    <a:pt x="0" y="9504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9</TotalTime>
  <Words>47</Words>
  <Application>Microsoft Office PowerPoint</Application>
  <PresentationFormat>Custom</PresentationFormat>
  <Paragraphs>20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Quicksand</vt:lpstr>
      <vt:lpstr>Arial</vt:lpstr>
      <vt:lpstr>Bigelow Rules</vt:lpstr>
      <vt:lpstr>Calibri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Potluck sign up sheet</dc:title>
  <dc:creator>Hoang Anh</dc:creator>
  <cp:lastModifiedBy>Hoang Anh</cp:lastModifiedBy>
  <cp:revision>24</cp:revision>
  <dcterms:created xsi:type="dcterms:W3CDTF">2006-08-16T00:00:00Z</dcterms:created>
  <dcterms:modified xsi:type="dcterms:W3CDTF">2024-03-22T08:45:49Z</dcterms:modified>
  <dc:identifier>DAGAMtRJytg</dc:identifier>
</cp:coreProperties>
</file>